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147375589" r:id="rId6"/>
    <p:sldId id="4848" r:id="rId7"/>
    <p:sldId id="2147375597" r:id="rId8"/>
    <p:sldId id="2147375600" r:id="rId9"/>
    <p:sldId id="2147375615" r:id="rId10"/>
    <p:sldId id="2147375602" r:id="rId11"/>
    <p:sldId id="2147375603" r:id="rId12"/>
    <p:sldId id="2147375604" r:id="rId13"/>
    <p:sldId id="2147375605" r:id="rId14"/>
    <p:sldId id="2147375606" r:id="rId15"/>
    <p:sldId id="2147375607" r:id="rId16"/>
    <p:sldId id="2147375608" r:id="rId17"/>
    <p:sldId id="2147375610" r:id="rId18"/>
    <p:sldId id="2147375611" r:id="rId19"/>
    <p:sldId id="2147375612" r:id="rId20"/>
    <p:sldId id="2147375613" r:id="rId21"/>
    <p:sldId id="2147375614"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781DC6-9D46-4AD0-A6AA-565E3D71A271}" v="32" dt="2024-09-06T17:50:51.9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Srivastava, Deepika S SBOBNG-PTIY/AGE" userId="8599aff4-1a06-4057-ab1a-3984da1704ca" providerId="ADAL" clId="{83781DC6-9D46-4AD0-A6AA-565E3D71A271}"/>
    <pc:docChg chg="undo redo custSel addSld delSld modSld sldOrd">
      <pc:chgData name="Srivastava, Deepika S SBOBNG-PTIY/AGE" userId="8599aff4-1a06-4057-ab1a-3984da1704ca" providerId="ADAL" clId="{83781DC6-9D46-4AD0-A6AA-565E3D71A271}" dt="2024-09-06T17:51:03.786" v="9746" actId="1076"/>
      <pc:docMkLst>
        <pc:docMk/>
      </pc:docMkLst>
      <pc:sldChg chg="modSp mod">
        <pc:chgData name="Srivastava, Deepika S SBOBNG-PTIY/AGE" userId="8599aff4-1a06-4057-ab1a-3984da1704ca" providerId="ADAL" clId="{83781DC6-9D46-4AD0-A6AA-565E3D71A271}" dt="2024-09-06T16:17:41.456" v="7672" actId="20577"/>
        <pc:sldMkLst>
          <pc:docMk/>
          <pc:sldMk cId="3267775274" sldId="256"/>
        </pc:sldMkLst>
        <pc:spChg chg="mod">
          <ac:chgData name="Srivastava, Deepika S SBOBNG-PTIY/AGE" userId="8599aff4-1a06-4057-ab1a-3984da1704ca" providerId="ADAL" clId="{83781DC6-9D46-4AD0-A6AA-565E3D71A271}" dt="2024-09-06T16:17:27.820" v="7661" actId="20577"/>
          <ac:spMkLst>
            <pc:docMk/>
            <pc:sldMk cId="3267775274" sldId="256"/>
            <ac:spMk id="6" creationId="{0C37A4A8-A3C7-407F-B123-88E2E165C827}"/>
          </ac:spMkLst>
        </pc:spChg>
        <pc:spChg chg="mod">
          <ac:chgData name="Srivastava, Deepika S SBOBNG-PTIY/AGE" userId="8599aff4-1a06-4057-ab1a-3984da1704ca" providerId="ADAL" clId="{83781DC6-9D46-4AD0-A6AA-565E3D71A271}" dt="2024-08-30T15:04:05.053" v="33" actId="20577"/>
          <ac:spMkLst>
            <pc:docMk/>
            <pc:sldMk cId="3267775274" sldId="256"/>
            <ac:spMk id="12" creationId="{8A24547F-8A92-CDC5-A578-3733390534F2}"/>
          </ac:spMkLst>
        </pc:spChg>
        <pc:spChg chg="mod">
          <ac:chgData name="Srivastava, Deepika S SBOBNG-PTIY/AGE" userId="8599aff4-1a06-4057-ab1a-3984da1704ca" providerId="ADAL" clId="{83781DC6-9D46-4AD0-A6AA-565E3D71A271}" dt="2024-09-06T16:17:41.456" v="7672" actId="20577"/>
          <ac:spMkLst>
            <pc:docMk/>
            <pc:sldMk cId="3267775274" sldId="256"/>
            <ac:spMk id="13" creationId="{C48F8DD6-A1B3-8126-FAC3-218B712C7FFB}"/>
          </ac:spMkLst>
        </pc:spChg>
      </pc:sldChg>
      <pc:sldChg chg="addSp modSp mod">
        <pc:chgData name="Srivastava, Deepika S SBOBNG-PTIY/AGE" userId="8599aff4-1a06-4057-ab1a-3984da1704ca" providerId="ADAL" clId="{83781DC6-9D46-4AD0-A6AA-565E3D71A271}" dt="2024-08-30T16:13:30.358" v="247" actId="962"/>
        <pc:sldMkLst>
          <pc:docMk/>
          <pc:sldMk cId="867832184" sldId="2147375589"/>
        </pc:sldMkLst>
        <pc:spChg chg="mod">
          <ac:chgData name="Srivastava, Deepika S SBOBNG-PTIY/AGE" userId="8599aff4-1a06-4057-ab1a-3984da1704ca" providerId="ADAL" clId="{83781DC6-9D46-4AD0-A6AA-565E3D71A271}" dt="2024-08-30T16:10:11.642" v="243" actId="20577"/>
          <ac:spMkLst>
            <pc:docMk/>
            <pc:sldMk cId="867832184" sldId="2147375589"/>
            <ac:spMk id="10" creationId="{1119CB9E-042F-11E8-F683-654626D307B3}"/>
          </ac:spMkLst>
        </pc:spChg>
        <pc:picChg chg="add mod">
          <ac:chgData name="Srivastava, Deepika S SBOBNG-PTIY/AGE" userId="8599aff4-1a06-4057-ab1a-3984da1704ca" providerId="ADAL" clId="{83781DC6-9D46-4AD0-A6AA-565E3D71A271}" dt="2024-08-30T16:13:30.358" v="247" actId="962"/>
          <ac:picMkLst>
            <pc:docMk/>
            <pc:sldMk cId="867832184" sldId="2147375589"/>
            <ac:picMk id="6" creationId="{BB155DA2-D0FF-20FA-A68F-D1CD16E6004F}"/>
          </ac:picMkLst>
        </pc:picChg>
      </pc:sldChg>
      <pc:sldChg chg="addSp modSp mod">
        <pc:chgData name="Srivastava, Deepika S SBOBNG-PTIY/AGE" userId="8599aff4-1a06-4057-ab1a-3984da1704ca" providerId="ADAL" clId="{83781DC6-9D46-4AD0-A6AA-565E3D71A271}" dt="2024-09-06T17:19:57.214" v="8919" actId="1076"/>
        <pc:sldMkLst>
          <pc:docMk/>
          <pc:sldMk cId="245881457" sldId="2147375597"/>
        </pc:sldMkLst>
        <pc:spChg chg="mod">
          <ac:chgData name="Srivastava, Deepika S SBOBNG-PTIY/AGE" userId="8599aff4-1a06-4057-ab1a-3984da1704ca" providerId="ADAL" clId="{83781DC6-9D46-4AD0-A6AA-565E3D71A271}" dt="2024-09-06T16:35:33.040" v="7704" actId="20577"/>
          <ac:spMkLst>
            <pc:docMk/>
            <pc:sldMk cId="245881457" sldId="2147375597"/>
            <ac:spMk id="3" creationId="{CEA128C4-A0BC-A895-713C-306E7FF62894}"/>
          </ac:spMkLst>
        </pc:spChg>
        <pc:spChg chg="mod">
          <ac:chgData name="Srivastava, Deepika S SBOBNG-PTIY/AGE" userId="8599aff4-1a06-4057-ab1a-3984da1704ca" providerId="ADAL" clId="{83781DC6-9D46-4AD0-A6AA-565E3D71A271}" dt="2024-09-06T16:40:52.465" v="7945" actId="20577"/>
          <ac:spMkLst>
            <pc:docMk/>
            <pc:sldMk cId="245881457" sldId="2147375597"/>
            <ac:spMk id="11" creationId="{DE9F1BE0-7910-FA1B-DCE8-56EFD1E4FC09}"/>
          </ac:spMkLst>
        </pc:spChg>
        <pc:spChg chg="mod">
          <ac:chgData name="Srivastava, Deepika S SBOBNG-PTIY/AGE" userId="8599aff4-1a06-4057-ab1a-3984da1704ca" providerId="ADAL" clId="{83781DC6-9D46-4AD0-A6AA-565E3D71A271}" dt="2024-09-06T16:42:43.299" v="7947" actId="1076"/>
          <ac:spMkLst>
            <pc:docMk/>
            <pc:sldMk cId="245881457" sldId="2147375597"/>
            <ac:spMk id="12" creationId="{E53E5C3F-4D2B-B85F-E592-E58E032C664C}"/>
          </ac:spMkLst>
        </pc:spChg>
        <pc:picChg chg="add mod modCrop">
          <ac:chgData name="Srivastava, Deepika S SBOBNG-PTIY/AGE" userId="8599aff4-1a06-4057-ab1a-3984da1704ca" providerId="ADAL" clId="{83781DC6-9D46-4AD0-A6AA-565E3D71A271}" dt="2024-09-06T17:19:57.214" v="8919" actId="1076"/>
          <ac:picMkLst>
            <pc:docMk/>
            <pc:sldMk cId="245881457" sldId="2147375597"/>
            <ac:picMk id="5" creationId="{4B954D4D-521E-E433-0A23-BEB3BCABC033}"/>
          </ac:picMkLst>
        </pc:picChg>
      </pc:sldChg>
      <pc:sldChg chg="addSp delSp modSp mod">
        <pc:chgData name="Srivastava, Deepika S SBOBNG-PTIY/AGE" userId="8599aff4-1a06-4057-ab1a-3984da1704ca" providerId="ADAL" clId="{83781DC6-9D46-4AD0-A6AA-565E3D71A271}" dt="2024-09-06T17:14:38.663" v="8898" actId="14100"/>
        <pc:sldMkLst>
          <pc:docMk/>
          <pc:sldMk cId="1181112711" sldId="2147375600"/>
        </pc:sldMkLst>
        <pc:spChg chg="mod">
          <ac:chgData name="Srivastava, Deepika S SBOBNG-PTIY/AGE" userId="8599aff4-1a06-4057-ab1a-3984da1704ca" providerId="ADAL" clId="{83781DC6-9D46-4AD0-A6AA-565E3D71A271}" dt="2024-09-06T16:50:44.097" v="7984" actId="20577"/>
          <ac:spMkLst>
            <pc:docMk/>
            <pc:sldMk cId="1181112711" sldId="2147375600"/>
            <ac:spMk id="3" creationId="{CEA128C4-A0BC-A895-713C-306E7FF62894}"/>
          </ac:spMkLst>
        </pc:spChg>
        <pc:spChg chg="mod">
          <ac:chgData name="Srivastava, Deepika S SBOBNG-PTIY/AGE" userId="8599aff4-1a06-4057-ab1a-3984da1704ca" providerId="ADAL" clId="{83781DC6-9D46-4AD0-A6AA-565E3D71A271}" dt="2024-09-06T17:00:21.823" v="8624" actId="20577"/>
          <ac:spMkLst>
            <pc:docMk/>
            <pc:sldMk cId="1181112711" sldId="2147375600"/>
            <ac:spMk id="11" creationId="{DE9F1BE0-7910-FA1B-DCE8-56EFD1E4FC09}"/>
          </ac:spMkLst>
        </pc:spChg>
        <pc:spChg chg="del mod">
          <ac:chgData name="Srivastava, Deepika S SBOBNG-PTIY/AGE" userId="8599aff4-1a06-4057-ab1a-3984da1704ca" providerId="ADAL" clId="{83781DC6-9D46-4AD0-A6AA-565E3D71A271}" dt="2024-09-06T17:14:22.824" v="8893" actId="478"/>
          <ac:spMkLst>
            <pc:docMk/>
            <pc:sldMk cId="1181112711" sldId="2147375600"/>
            <ac:spMk id="12" creationId="{E53E5C3F-4D2B-B85F-E592-E58E032C664C}"/>
          </ac:spMkLst>
        </pc:spChg>
        <pc:picChg chg="add mod">
          <ac:chgData name="Srivastava, Deepika S SBOBNG-PTIY/AGE" userId="8599aff4-1a06-4057-ab1a-3984da1704ca" providerId="ADAL" clId="{83781DC6-9D46-4AD0-A6AA-565E3D71A271}" dt="2024-09-06T17:14:04.361" v="8890" actId="1076"/>
          <ac:picMkLst>
            <pc:docMk/>
            <pc:sldMk cId="1181112711" sldId="2147375600"/>
            <ac:picMk id="1026" creationId="{E548F1F4-C998-571E-4531-F7DDFCCACA18}"/>
          </ac:picMkLst>
        </pc:picChg>
        <pc:picChg chg="add del mod">
          <ac:chgData name="Srivastava, Deepika S SBOBNG-PTIY/AGE" userId="8599aff4-1a06-4057-ab1a-3984da1704ca" providerId="ADAL" clId="{83781DC6-9D46-4AD0-A6AA-565E3D71A271}" dt="2024-09-06T17:14:22.824" v="8893" actId="478"/>
          <ac:picMkLst>
            <pc:docMk/>
            <pc:sldMk cId="1181112711" sldId="2147375600"/>
            <ac:picMk id="1028" creationId="{01C9A023-389F-5AA6-7387-A7BCDA1861F6}"/>
          </ac:picMkLst>
        </pc:picChg>
        <pc:picChg chg="add mod">
          <ac:chgData name="Srivastava, Deepika S SBOBNG-PTIY/AGE" userId="8599aff4-1a06-4057-ab1a-3984da1704ca" providerId="ADAL" clId="{83781DC6-9D46-4AD0-A6AA-565E3D71A271}" dt="2024-09-06T17:14:38.663" v="8898" actId="14100"/>
          <ac:picMkLst>
            <pc:docMk/>
            <pc:sldMk cId="1181112711" sldId="2147375600"/>
            <ac:picMk id="1030" creationId="{750B14F9-D683-2B7F-2E57-DB472337B530}"/>
          </ac:picMkLst>
        </pc:picChg>
      </pc:sldChg>
      <pc:sldChg chg="modSp del mod">
        <pc:chgData name="Srivastava, Deepika S SBOBNG-PTIY/AGE" userId="8599aff4-1a06-4057-ab1a-3984da1704ca" providerId="ADAL" clId="{83781DC6-9D46-4AD0-A6AA-565E3D71A271}" dt="2024-09-06T17:20:17.791" v="8920" actId="2696"/>
        <pc:sldMkLst>
          <pc:docMk/>
          <pc:sldMk cId="3233747587" sldId="2147375601"/>
        </pc:sldMkLst>
        <pc:spChg chg="mod">
          <ac:chgData name="Srivastava, Deepika S SBOBNG-PTIY/AGE" userId="8599aff4-1a06-4057-ab1a-3984da1704ca" providerId="ADAL" clId="{83781DC6-9D46-4AD0-A6AA-565E3D71A271}" dt="2024-08-30T17:36:52.194" v="2625" actId="20577"/>
          <ac:spMkLst>
            <pc:docMk/>
            <pc:sldMk cId="3233747587" sldId="2147375601"/>
            <ac:spMk id="3" creationId="{CEA128C4-A0BC-A895-713C-306E7FF62894}"/>
          </ac:spMkLst>
        </pc:spChg>
        <pc:spChg chg="mod">
          <ac:chgData name="Srivastava, Deepika S SBOBNG-PTIY/AGE" userId="8599aff4-1a06-4057-ab1a-3984da1704ca" providerId="ADAL" clId="{83781DC6-9D46-4AD0-A6AA-565E3D71A271}" dt="2024-08-30T17:54:27.034" v="4154" actId="113"/>
          <ac:spMkLst>
            <pc:docMk/>
            <pc:sldMk cId="3233747587" sldId="2147375601"/>
            <ac:spMk id="11" creationId="{DE9F1BE0-7910-FA1B-DCE8-56EFD1E4FC09}"/>
          </ac:spMkLst>
        </pc:spChg>
        <pc:spChg chg="mod">
          <ac:chgData name="Srivastava, Deepika S SBOBNG-PTIY/AGE" userId="8599aff4-1a06-4057-ab1a-3984da1704ca" providerId="ADAL" clId="{83781DC6-9D46-4AD0-A6AA-565E3D71A271}" dt="2024-08-30T17:51:14.525" v="4149" actId="20577"/>
          <ac:spMkLst>
            <pc:docMk/>
            <pc:sldMk cId="3233747587" sldId="2147375601"/>
            <ac:spMk id="12" creationId="{E53E5C3F-4D2B-B85F-E592-E58E032C664C}"/>
          </ac:spMkLst>
        </pc:spChg>
      </pc:sldChg>
      <pc:sldChg chg="delSp modSp mod">
        <pc:chgData name="Srivastava, Deepika S SBOBNG-PTIY/AGE" userId="8599aff4-1a06-4057-ab1a-3984da1704ca" providerId="ADAL" clId="{83781DC6-9D46-4AD0-A6AA-565E3D71A271}" dt="2024-09-06T17:31:23.313" v="8968" actId="20577"/>
        <pc:sldMkLst>
          <pc:docMk/>
          <pc:sldMk cId="3971512377" sldId="2147375603"/>
        </pc:sldMkLst>
        <pc:spChg chg="mod">
          <ac:chgData name="Srivastava, Deepika S SBOBNG-PTIY/AGE" userId="8599aff4-1a06-4057-ab1a-3984da1704ca" providerId="ADAL" clId="{83781DC6-9D46-4AD0-A6AA-565E3D71A271}" dt="2024-09-06T17:31:23.313" v="8968" actId="20577"/>
          <ac:spMkLst>
            <pc:docMk/>
            <pc:sldMk cId="3971512377" sldId="2147375603"/>
            <ac:spMk id="11" creationId="{DE9F1BE0-7910-FA1B-DCE8-56EFD1E4FC09}"/>
          </ac:spMkLst>
        </pc:spChg>
        <pc:spChg chg="del mod">
          <ac:chgData name="Srivastava, Deepika S SBOBNG-PTIY/AGE" userId="8599aff4-1a06-4057-ab1a-3984da1704ca" providerId="ADAL" clId="{83781DC6-9D46-4AD0-A6AA-565E3D71A271}" dt="2024-08-30T18:33:17.238" v="7647" actId="21"/>
          <ac:spMkLst>
            <pc:docMk/>
            <pc:sldMk cId="3971512377" sldId="2147375603"/>
            <ac:spMk id="12" creationId="{E53E5C3F-4D2B-B85F-E592-E58E032C664C}"/>
          </ac:spMkLst>
        </pc:spChg>
      </pc:sldChg>
      <pc:sldChg chg="delSp modSp mod">
        <pc:chgData name="Srivastava, Deepika S SBOBNG-PTIY/AGE" userId="8599aff4-1a06-4057-ab1a-3984da1704ca" providerId="ADAL" clId="{83781DC6-9D46-4AD0-A6AA-565E3D71A271}" dt="2024-09-06T17:32:25.024" v="8993" actId="20577"/>
        <pc:sldMkLst>
          <pc:docMk/>
          <pc:sldMk cId="3179805674" sldId="2147375604"/>
        </pc:sldMkLst>
        <pc:spChg chg="mod">
          <ac:chgData name="Srivastava, Deepika S SBOBNG-PTIY/AGE" userId="8599aff4-1a06-4057-ab1a-3984da1704ca" providerId="ADAL" clId="{83781DC6-9D46-4AD0-A6AA-565E3D71A271}" dt="2024-09-06T17:32:25.024" v="8993" actId="20577"/>
          <ac:spMkLst>
            <pc:docMk/>
            <pc:sldMk cId="3179805674" sldId="2147375604"/>
            <ac:spMk id="11" creationId="{DE9F1BE0-7910-FA1B-DCE8-56EFD1E4FC09}"/>
          </ac:spMkLst>
        </pc:spChg>
        <pc:spChg chg="del">
          <ac:chgData name="Srivastava, Deepika S SBOBNG-PTIY/AGE" userId="8599aff4-1a06-4057-ab1a-3984da1704ca" providerId="ADAL" clId="{83781DC6-9D46-4AD0-A6AA-565E3D71A271}" dt="2024-08-30T18:33:28.714" v="7649" actId="21"/>
          <ac:spMkLst>
            <pc:docMk/>
            <pc:sldMk cId="3179805674" sldId="2147375604"/>
            <ac:spMk id="12" creationId="{E53E5C3F-4D2B-B85F-E592-E58E032C664C}"/>
          </ac:spMkLst>
        </pc:spChg>
      </pc:sldChg>
      <pc:sldChg chg="delSp modSp mod">
        <pc:chgData name="Srivastava, Deepika S SBOBNG-PTIY/AGE" userId="8599aff4-1a06-4057-ab1a-3984da1704ca" providerId="ADAL" clId="{83781DC6-9D46-4AD0-A6AA-565E3D71A271}" dt="2024-09-06T17:33:04.508" v="9004" actId="20577"/>
        <pc:sldMkLst>
          <pc:docMk/>
          <pc:sldMk cId="86366928" sldId="2147375605"/>
        </pc:sldMkLst>
        <pc:spChg chg="mod">
          <ac:chgData name="Srivastava, Deepika S SBOBNG-PTIY/AGE" userId="8599aff4-1a06-4057-ab1a-3984da1704ca" providerId="ADAL" clId="{83781DC6-9D46-4AD0-A6AA-565E3D71A271}" dt="2024-09-06T17:33:04.508" v="9004" actId="20577"/>
          <ac:spMkLst>
            <pc:docMk/>
            <pc:sldMk cId="86366928" sldId="2147375605"/>
            <ac:spMk id="11" creationId="{DE9F1BE0-7910-FA1B-DCE8-56EFD1E4FC09}"/>
          </ac:spMkLst>
        </pc:spChg>
        <pc:spChg chg="del">
          <ac:chgData name="Srivastava, Deepika S SBOBNG-PTIY/AGE" userId="8599aff4-1a06-4057-ab1a-3984da1704ca" providerId="ADAL" clId="{83781DC6-9D46-4AD0-A6AA-565E3D71A271}" dt="2024-08-30T18:33:39.774" v="7652" actId="21"/>
          <ac:spMkLst>
            <pc:docMk/>
            <pc:sldMk cId="86366928" sldId="2147375605"/>
            <ac:spMk id="12" creationId="{E53E5C3F-4D2B-B85F-E592-E58E032C664C}"/>
          </ac:spMkLst>
        </pc:spChg>
      </pc:sldChg>
      <pc:sldChg chg="delSp modSp mod">
        <pc:chgData name="Srivastava, Deepika S SBOBNG-PTIY/AGE" userId="8599aff4-1a06-4057-ab1a-3984da1704ca" providerId="ADAL" clId="{83781DC6-9D46-4AD0-A6AA-565E3D71A271}" dt="2024-09-06T17:34:04.125" v="9061" actId="20577"/>
        <pc:sldMkLst>
          <pc:docMk/>
          <pc:sldMk cId="2340944189" sldId="2147375607"/>
        </pc:sldMkLst>
        <pc:spChg chg="mod">
          <ac:chgData name="Srivastava, Deepika S SBOBNG-PTIY/AGE" userId="8599aff4-1a06-4057-ab1a-3984da1704ca" providerId="ADAL" clId="{83781DC6-9D46-4AD0-A6AA-565E3D71A271}" dt="2024-09-06T17:34:04.125" v="9061" actId="20577"/>
          <ac:spMkLst>
            <pc:docMk/>
            <pc:sldMk cId="2340944189" sldId="2147375607"/>
            <ac:spMk id="11" creationId="{DE9F1BE0-7910-FA1B-DCE8-56EFD1E4FC09}"/>
          </ac:spMkLst>
        </pc:spChg>
        <pc:spChg chg="del">
          <ac:chgData name="Srivastava, Deepika S SBOBNG-PTIY/AGE" userId="8599aff4-1a06-4057-ab1a-3984da1704ca" providerId="ADAL" clId="{83781DC6-9D46-4AD0-A6AA-565E3D71A271}" dt="2024-08-30T18:33:52.476" v="7654" actId="21"/>
          <ac:spMkLst>
            <pc:docMk/>
            <pc:sldMk cId="2340944189" sldId="2147375607"/>
            <ac:spMk id="12" creationId="{E53E5C3F-4D2B-B85F-E592-E58E032C664C}"/>
          </ac:spMkLst>
        </pc:spChg>
      </pc:sldChg>
      <pc:sldChg chg="delSp modSp mod">
        <pc:chgData name="Srivastava, Deepika S SBOBNG-PTIY/AGE" userId="8599aff4-1a06-4057-ab1a-3984da1704ca" providerId="ADAL" clId="{83781DC6-9D46-4AD0-A6AA-565E3D71A271}" dt="2024-09-06T17:43:02.444" v="9724" actId="20577"/>
        <pc:sldMkLst>
          <pc:docMk/>
          <pc:sldMk cId="3159148252" sldId="2147375608"/>
        </pc:sldMkLst>
        <pc:spChg chg="mod">
          <ac:chgData name="Srivastava, Deepika S SBOBNG-PTIY/AGE" userId="8599aff4-1a06-4057-ab1a-3984da1704ca" providerId="ADAL" clId="{83781DC6-9D46-4AD0-A6AA-565E3D71A271}" dt="2024-09-06T17:43:02.444" v="9724" actId="20577"/>
          <ac:spMkLst>
            <pc:docMk/>
            <pc:sldMk cId="3159148252" sldId="2147375608"/>
            <ac:spMk id="11" creationId="{DE9F1BE0-7910-FA1B-DCE8-56EFD1E4FC09}"/>
          </ac:spMkLst>
        </pc:spChg>
        <pc:spChg chg="del">
          <ac:chgData name="Srivastava, Deepika S SBOBNG-PTIY/AGE" userId="8599aff4-1a06-4057-ab1a-3984da1704ca" providerId="ADAL" clId="{83781DC6-9D46-4AD0-A6AA-565E3D71A271}" dt="2024-08-30T18:34:02.025" v="7656" actId="21"/>
          <ac:spMkLst>
            <pc:docMk/>
            <pc:sldMk cId="3159148252" sldId="2147375608"/>
            <ac:spMk id="12" creationId="{E53E5C3F-4D2B-B85F-E592-E58E032C664C}"/>
          </ac:spMkLst>
        </pc:spChg>
      </pc:sldChg>
      <pc:sldChg chg="del">
        <pc:chgData name="Srivastava, Deepika S SBOBNG-PTIY/AGE" userId="8599aff4-1a06-4057-ab1a-3984da1704ca" providerId="ADAL" clId="{83781DC6-9D46-4AD0-A6AA-565E3D71A271}" dt="2024-08-30T18:32:05.539" v="7645" actId="2696"/>
        <pc:sldMkLst>
          <pc:docMk/>
          <pc:sldMk cId="3070204084" sldId="2147375609"/>
        </pc:sldMkLst>
      </pc:sldChg>
      <pc:sldChg chg="modSp mod">
        <pc:chgData name="Srivastava, Deepika S SBOBNG-PTIY/AGE" userId="8599aff4-1a06-4057-ab1a-3984da1704ca" providerId="ADAL" clId="{83781DC6-9D46-4AD0-A6AA-565E3D71A271}" dt="2024-09-06T17:38:15.300" v="9539" actId="20577"/>
        <pc:sldMkLst>
          <pc:docMk/>
          <pc:sldMk cId="3754613224" sldId="2147375611"/>
        </pc:sldMkLst>
        <pc:spChg chg="mod">
          <ac:chgData name="Srivastava, Deepika S SBOBNG-PTIY/AGE" userId="8599aff4-1a06-4057-ab1a-3984da1704ca" providerId="ADAL" clId="{83781DC6-9D46-4AD0-A6AA-565E3D71A271}" dt="2024-09-06T17:37:34.026" v="9454" actId="20577"/>
          <ac:spMkLst>
            <pc:docMk/>
            <pc:sldMk cId="3754613224" sldId="2147375611"/>
            <ac:spMk id="18" creationId="{6C73795A-BE20-7075-E9C6-6F145CE60794}"/>
          </ac:spMkLst>
        </pc:spChg>
        <pc:spChg chg="mod">
          <ac:chgData name="Srivastava, Deepika S SBOBNG-PTIY/AGE" userId="8599aff4-1a06-4057-ab1a-3984da1704ca" providerId="ADAL" clId="{83781DC6-9D46-4AD0-A6AA-565E3D71A271}" dt="2024-09-06T17:38:02.538" v="9530" actId="313"/>
          <ac:spMkLst>
            <pc:docMk/>
            <pc:sldMk cId="3754613224" sldId="2147375611"/>
            <ac:spMk id="19" creationId="{A3E2F4D1-4417-E244-3DB9-A6FF5866A342}"/>
          </ac:spMkLst>
        </pc:spChg>
        <pc:spChg chg="mod">
          <ac:chgData name="Srivastava, Deepika S SBOBNG-PTIY/AGE" userId="8599aff4-1a06-4057-ab1a-3984da1704ca" providerId="ADAL" clId="{83781DC6-9D46-4AD0-A6AA-565E3D71A271}" dt="2024-09-06T17:38:15.300" v="9539" actId="20577"/>
          <ac:spMkLst>
            <pc:docMk/>
            <pc:sldMk cId="3754613224" sldId="2147375611"/>
            <ac:spMk id="20" creationId="{3EBEB0AC-D407-44FD-A74F-90F67F3D13C3}"/>
          </ac:spMkLst>
        </pc:spChg>
      </pc:sldChg>
      <pc:sldChg chg="addSp delSp modSp mod">
        <pc:chgData name="Srivastava, Deepika S SBOBNG-PTIY/AGE" userId="8599aff4-1a06-4057-ab1a-3984da1704ca" providerId="ADAL" clId="{83781DC6-9D46-4AD0-A6AA-565E3D71A271}" dt="2024-09-06T17:51:03.786" v="9746" actId="1076"/>
        <pc:sldMkLst>
          <pc:docMk/>
          <pc:sldMk cId="1148838763" sldId="2147375613"/>
        </pc:sldMkLst>
        <pc:spChg chg="del mod">
          <ac:chgData name="Srivastava, Deepika S SBOBNG-PTIY/AGE" userId="8599aff4-1a06-4057-ab1a-3984da1704ca" providerId="ADAL" clId="{83781DC6-9D46-4AD0-A6AA-565E3D71A271}" dt="2024-09-06T17:50:04.241" v="9732" actId="478"/>
          <ac:spMkLst>
            <pc:docMk/>
            <pc:sldMk cId="1148838763" sldId="2147375613"/>
            <ac:spMk id="11" creationId="{8CC1343B-2E39-FEFF-8FF6-46822F18B432}"/>
          </ac:spMkLst>
        </pc:spChg>
        <pc:spChg chg="del">
          <ac:chgData name="Srivastava, Deepika S SBOBNG-PTIY/AGE" userId="8599aff4-1a06-4057-ab1a-3984da1704ca" providerId="ADAL" clId="{83781DC6-9D46-4AD0-A6AA-565E3D71A271}" dt="2024-08-30T18:34:17.285" v="7658" actId="21"/>
          <ac:spMkLst>
            <pc:docMk/>
            <pc:sldMk cId="1148838763" sldId="2147375613"/>
            <ac:spMk id="12" creationId="{5A873A1A-E63F-91AE-7D43-ED0F86870147}"/>
          </ac:spMkLst>
        </pc:spChg>
        <pc:picChg chg="add mod">
          <ac:chgData name="Srivastava, Deepika S SBOBNG-PTIY/AGE" userId="8599aff4-1a06-4057-ab1a-3984da1704ca" providerId="ADAL" clId="{83781DC6-9D46-4AD0-A6AA-565E3D71A271}" dt="2024-09-06T17:49:53.816" v="9729" actId="1076"/>
          <ac:picMkLst>
            <pc:docMk/>
            <pc:sldMk cId="1148838763" sldId="2147375613"/>
            <ac:picMk id="6" creationId="{B9E8A41E-EF14-CE67-BEE3-73AC47C98E2D}"/>
          </ac:picMkLst>
        </pc:picChg>
        <pc:picChg chg="add del mod">
          <ac:chgData name="Srivastava, Deepika S SBOBNG-PTIY/AGE" userId="8599aff4-1a06-4057-ab1a-3984da1704ca" providerId="ADAL" clId="{83781DC6-9D46-4AD0-A6AA-565E3D71A271}" dt="2024-09-06T17:50:43.202" v="9741" actId="21"/>
          <ac:picMkLst>
            <pc:docMk/>
            <pc:sldMk cId="1148838763" sldId="2147375613"/>
            <ac:picMk id="9" creationId="{5B61C151-E524-787C-93A4-66E24314F08C}"/>
          </ac:picMkLst>
        </pc:picChg>
        <pc:picChg chg="add mod">
          <ac:chgData name="Srivastava, Deepika S SBOBNG-PTIY/AGE" userId="8599aff4-1a06-4057-ab1a-3984da1704ca" providerId="ADAL" clId="{83781DC6-9D46-4AD0-A6AA-565E3D71A271}" dt="2024-09-06T17:51:03.786" v="9746" actId="1076"/>
          <ac:picMkLst>
            <pc:docMk/>
            <pc:sldMk cId="1148838763" sldId="2147375613"/>
            <ac:picMk id="13" creationId="{E320E375-27E2-6C4C-6D6B-ED586CBCBC76}"/>
          </ac:picMkLst>
        </pc:picChg>
      </pc:sldChg>
      <pc:sldChg chg="modSp mod">
        <pc:chgData name="Srivastava, Deepika S SBOBNG-PTIY/AGE" userId="8599aff4-1a06-4057-ab1a-3984da1704ca" providerId="ADAL" clId="{83781DC6-9D46-4AD0-A6AA-565E3D71A271}" dt="2024-09-06T17:42:22.209" v="9723" actId="20577"/>
        <pc:sldMkLst>
          <pc:docMk/>
          <pc:sldMk cId="3865850111" sldId="2147375614"/>
        </pc:sldMkLst>
        <pc:spChg chg="mod">
          <ac:chgData name="Srivastava, Deepika S SBOBNG-PTIY/AGE" userId="8599aff4-1a06-4057-ab1a-3984da1704ca" providerId="ADAL" clId="{83781DC6-9D46-4AD0-A6AA-565E3D71A271}" dt="2024-09-06T17:42:22.209" v="9723" actId="20577"/>
          <ac:spMkLst>
            <pc:docMk/>
            <pc:sldMk cId="3865850111" sldId="2147375614"/>
            <ac:spMk id="6" creationId="{AC2F88D2-81D4-FAD4-568E-A3F495B06411}"/>
          </ac:spMkLst>
        </pc:spChg>
      </pc:sldChg>
      <pc:sldChg chg="addSp delSp modSp add mod">
        <pc:chgData name="Srivastava, Deepika S SBOBNG-PTIY/AGE" userId="8599aff4-1a06-4057-ab1a-3984da1704ca" providerId="ADAL" clId="{83781DC6-9D46-4AD0-A6AA-565E3D71A271}" dt="2024-09-06T17:15:57.547" v="8906" actId="1076"/>
        <pc:sldMkLst>
          <pc:docMk/>
          <pc:sldMk cId="2357539254" sldId="2147375615"/>
        </pc:sldMkLst>
        <pc:spChg chg="mod">
          <ac:chgData name="Srivastava, Deepika S SBOBNG-PTIY/AGE" userId="8599aff4-1a06-4057-ab1a-3984da1704ca" providerId="ADAL" clId="{83781DC6-9D46-4AD0-A6AA-565E3D71A271}" dt="2024-09-06T17:11:47.370" v="8878" actId="20577"/>
          <ac:spMkLst>
            <pc:docMk/>
            <pc:sldMk cId="2357539254" sldId="2147375615"/>
            <ac:spMk id="3" creationId="{CEA128C4-A0BC-A895-713C-306E7FF62894}"/>
          </ac:spMkLst>
        </pc:spChg>
        <pc:spChg chg="mod">
          <ac:chgData name="Srivastava, Deepika S SBOBNG-PTIY/AGE" userId="8599aff4-1a06-4057-ab1a-3984da1704ca" providerId="ADAL" clId="{83781DC6-9D46-4AD0-A6AA-565E3D71A271}" dt="2024-09-06T17:04:26.352" v="8876" actId="20577"/>
          <ac:spMkLst>
            <pc:docMk/>
            <pc:sldMk cId="2357539254" sldId="2147375615"/>
            <ac:spMk id="11" creationId="{DE9F1BE0-7910-FA1B-DCE8-56EFD1E4FC09}"/>
          </ac:spMkLst>
        </pc:spChg>
        <pc:spChg chg="del mod">
          <ac:chgData name="Srivastava, Deepika S SBOBNG-PTIY/AGE" userId="8599aff4-1a06-4057-ab1a-3984da1704ca" providerId="ADAL" clId="{83781DC6-9D46-4AD0-A6AA-565E3D71A271}" dt="2024-09-06T17:15:44.735" v="8902" actId="478"/>
          <ac:spMkLst>
            <pc:docMk/>
            <pc:sldMk cId="2357539254" sldId="2147375615"/>
            <ac:spMk id="12" creationId="{E53E5C3F-4D2B-B85F-E592-E58E032C664C}"/>
          </ac:spMkLst>
        </pc:spChg>
        <pc:picChg chg="add del mod">
          <ac:chgData name="Srivastava, Deepika S SBOBNG-PTIY/AGE" userId="8599aff4-1a06-4057-ab1a-3984da1704ca" providerId="ADAL" clId="{83781DC6-9D46-4AD0-A6AA-565E3D71A271}" dt="2024-09-06T17:15:44.735" v="8902" actId="478"/>
          <ac:picMkLst>
            <pc:docMk/>
            <pc:sldMk cId="2357539254" sldId="2147375615"/>
            <ac:picMk id="2050" creationId="{EDFFC713-6201-3F8C-D47C-349549CAAF67}"/>
          </ac:picMkLst>
        </pc:picChg>
        <pc:picChg chg="add mod">
          <ac:chgData name="Srivastava, Deepika S SBOBNG-PTIY/AGE" userId="8599aff4-1a06-4057-ab1a-3984da1704ca" providerId="ADAL" clId="{83781DC6-9D46-4AD0-A6AA-565E3D71A271}" dt="2024-09-06T17:15:57.547" v="8906" actId="1076"/>
          <ac:picMkLst>
            <pc:docMk/>
            <pc:sldMk cId="2357539254" sldId="2147375615"/>
            <ac:picMk id="2052" creationId="{5373C390-A8FA-87CC-211F-C05DA3E3DE98}"/>
          </ac:picMkLst>
        </pc:picChg>
      </pc:sldChg>
      <pc:sldChg chg="modSp add del mod ord">
        <pc:chgData name="Srivastava, Deepika S SBOBNG-PTIY/AGE" userId="8599aff4-1a06-4057-ab1a-3984da1704ca" providerId="ADAL" clId="{83781DC6-9D46-4AD0-A6AA-565E3D71A271}" dt="2024-09-06T17:20:23.212" v="8921" actId="2696"/>
        <pc:sldMkLst>
          <pc:docMk/>
          <pc:sldMk cId="2235190286" sldId="2147375616"/>
        </pc:sldMkLst>
        <pc:spChg chg="mod">
          <ac:chgData name="Srivastava, Deepika S SBOBNG-PTIY/AGE" userId="8599aff4-1a06-4057-ab1a-3984da1704ca" providerId="ADAL" clId="{83781DC6-9D46-4AD0-A6AA-565E3D71A271}" dt="2024-08-30T17:55:50.272" v="4237" actId="20577"/>
          <ac:spMkLst>
            <pc:docMk/>
            <pc:sldMk cId="2235190286" sldId="2147375616"/>
            <ac:spMk id="3" creationId="{CEA128C4-A0BC-A895-713C-306E7FF62894}"/>
          </ac:spMkLst>
        </pc:spChg>
        <pc:spChg chg="mod">
          <ac:chgData name="Srivastava, Deepika S SBOBNG-PTIY/AGE" userId="8599aff4-1a06-4057-ab1a-3984da1704ca" providerId="ADAL" clId="{83781DC6-9D46-4AD0-A6AA-565E3D71A271}" dt="2024-08-30T18:05:34.886" v="5204" actId="14100"/>
          <ac:spMkLst>
            <pc:docMk/>
            <pc:sldMk cId="2235190286" sldId="2147375616"/>
            <ac:spMk id="11" creationId="{DE9F1BE0-7910-FA1B-DCE8-56EFD1E4FC09}"/>
          </ac:spMkLst>
        </pc:spChg>
        <pc:spChg chg="mod">
          <ac:chgData name="Srivastava, Deepika S SBOBNG-PTIY/AGE" userId="8599aff4-1a06-4057-ab1a-3984da1704ca" providerId="ADAL" clId="{83781DC6-9D46-4AD0-A6AA-565E3D71A271}" dt="2024-08-30T18:05:39.826" v="5206" actId="27636"/>
          <ac:spMkLst>
            <pc:docMk/>
            <pc:sldMk cId="2235190286" sldId="2147375616"/>
            <ac:spMk id="12" creationId="{E53E5C3F-4D2B-B85F-E592-E58E032C664C}"/>
          </ac:spMkLst>
        </pc:sp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2.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eepika Srivastav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627129"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spcBef>
                <a:spcPts val="0"/>
              </a:spcBef>
              <a:spcAft>
                <a:spcPts val="0"/>
              </a:spcAft>
              <a:buNone/>
            </a:pPr>
            <a:r>
              <a:rPr lang="en-US" sz="1800" dirty="0">
                <a:solidFill>
                  <a:srgbClr val="000000"/>
                </a:solidFill>
                <a:effectLst/>
                <a:latin typeface="-webkit-standard"/>
                <a:ea typeface="Times New Roman" panose="02020603050405020304" pitchFamily="18" charset="0"/>
              </a:rPr>
              <a:t>In my role as a software engineer at Shell, using RDBMS (Relational Database Management Systems) can greatly enhance data management and application development. Regularly designing and optimize relational schemas to ensure efficient data storage and retrieval. Write and execute SQL queries to interact with databases, perform data analysis, and generate reports. Implement transactions and indexing to maintain data integrity and improve performance. Use database management tools for backup, recovery, and monitoring to ensure data security and availability. By effectively leveraging RDBMS, you can build scalable applications, maintain robust data integrity, and streamline data-driven decision-making processes.</a:t>
            </a:r>
            <a:endParaRPr lang="en-US" sz="1800" dirty="0">
              <a:effectLst/>
              <a:latin typeface="Calibri" panose="020F0502020204030204" pitchFamily="34" charset="0"/>
              <a:ea typeface="Calibri" panose="020F0502020204030204" pitchFamily="34" charset="0"/>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137268"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riting test cases and automating manual testing.</a:t>
            </a:r>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118017"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evOps is a new technology that I came across and given its importance, it was crucial to learn. I faced certain challenges navigating through the dashboards and portal but once it became familiar it was easy to use and navigate. It made my work look systematic as well when I designed a sprint.</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echnical Train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BA, Agile, DevOps, Cloud, RDBM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DevOps and </a:t>
            </a:r>
            <a:r>
              <a:rPr lang="en-US" sz="2000" dirty="0" err="1">
                <a:effectLst>
                  <a:outerShdw blurRad="38100" dist="38100" dir="2700000" algn="tl">
                    <a:srgbClr val="000000">
                      <a:alpha val="43137"/>
                    </a:srgbClr>
                  </a:outerShdw>
                </a:effectLst>
              </a:rPr>
              <a:t>Github</a:t>
            </a:r>
            <a:r>
              <a:rPr lang="en-US" sz="2000" dirty="0">
                <a:effectLst>
                  <a:outerShdw blurRad="38100" dist="38100" dir="2700000" algn="tl">
                    <a:srgbClr val="000000">
                      <a:alpha val="43137"/>
                    </a:srgbClr>
                  </a:outerShdw>
                </a:effectLst>
              </a:rPr>
              <a:t> Action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Learn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pic>
        <p:nvPicPr>
          <p:cNvPr id="6" name="Picture 5" descr="A group of people standing in front of a large screen&#10;&#10;Description automatically generated">
            <a:extLst>
              <a:ext uri="{FF2B5EF4-FFF2-40B4-BE49-F238E27FC236}">
                <a16:creationId xmlns:a16="http://schemas.microsoft.com/office/drawing/2014/main" id="{B9E8A41E-EF14-CE67-BEE3-73AC47C98E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065" y="1739767"/>
            <a:ext cx="5001928" cy="3751446"/>
          </a:xfrm>
          <a:prstGeom prst="rect">
            <a:avLst/>
          </a:prstGeom>
        </p:spPr>
      </p:pic>
      <p:pic>
        <p:nvPicPr>
          <p:cNvPr id="13" name="Picture 12" descr="A person standing in front of a whiteboard&#10;&#10;Description automatically generated">
            <a:extLst>
              <a:ext uri="{FF2B5EF4-FFF2-40B4-BE49-F238E27FC236}">
                <a16:creationId xmlns:a16="http://schemas.microsoft.com/office/drawing/2014/main" id="{E320E375-27E2-6C4C-6D6B-ED586CBCBC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99723" y="1739767"/>
            <a:ext cx="5001928" cy="3751446"/>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Crucial technical topics were discussed.</a:t>
            </a:r>
          </a:p>
          <a:p>
            <a:pPr>
              <a:lnSpc>
                <a:spcPct val="100000"/>
              </a:lnSpc>
            </a:pPr>
            <a:r>
              <a:rPr lang="en-US" sz="1800" dirty="0"/>
              <a:t>Be clear about the concepts and learn its practical application.</a:t>
            </a:r>
          </a:p>
          <a:p>
            <a:pPr>
              <a:lnSpc>
                <a:spcPct val="100000"/>
              </a:lnSpc>
            </a:pPr>
            <a:r>
              <a:rPr lang="en-US" sz="1800" dirty="0"/>
              <a:t>Will be beginning with department specific training.</a:t>
            </a:r>
          </a:p>
        </p:txBody>
      </p:sp>
    </p:spTree>
    <p:extLst>
      <p:ext uri="{BB962C8B-B14F-4D97-AF65-F5344CB8AC3E}">
        <p14:creationId xmlns:p14="http://schemas.microsoft.com/office/powerpoint/2010/main" val="38658501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ctr">
              <a:buFont typeface="Arial" panose="020B0604020202020204" pitchFamily="34" charset="0"/>
              <a:buAutoNum type="arabicPeriod"/>
            </a:pPr>
            <a:r>
              <a:rPr lang="en-US" sz="2000" dirty="0"/>
              <a:t>Don’t just dream but AIM.</a:t>
            </a:r>
          </a:p>
          <a:p>
            <a:pPr marL="457200" indent="-457200" algn="ctr">
              <a:buFont typeface="Arial" panose="020B0604020202020204" pitchFamily="34" charset="0"/>
              <a:buAutoNum type="arabicPeriod"/>
            </a:pPr>
            <a:r>
              <a:rPr lang="en-US" sz="2000" dirty="0"/>
              <a:t>Promising myself everyday to be a better person tomorrow than I was today.</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6" name="Picture 5" descr="A cartoon character with a large headpiece&#10;&#10;Description automatically generated with medium confidence">
            <a:extLst>
              <a:ext uri="{FF2B5EF4-FFF2-40B4-BE49-F238E27FC236}">
                <a16:creationId xmlns:a16="http://schemas.microsoft.com/office/drawing/2014/main" id="{BB155DA2-D0FF-20FA-A68F-D1CD16E600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04044" y="2436145"/>
            <a:ext cx="5144218" cy="286742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 Testing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What is test?</a:t>
            </a:r>
          </a:p>
          <a:p>
            <a:r>
              <a:rPr lang="en-US" sz="1500" dirty="0"/>
              <a:t>Software Testing</a:t>
            </a:r>
          </a:p>
          <a:p>
            <a:r>
              <a:rPr lang="en-US" sz="1500" dirty="0"/>
              <a:t>Software Testing Life Cycle</a:t>
            </a:r>
          </a:p>
          <a:p>
            <a:r>
              <a:rPr lang="en-US" sz="1500" dirty="0"/>
              <a:t>Test Strategy</a:t>
            </a:r>
          </a:p>
          <a:p>
            <a:r>
              <a:rPr lang="en-US" sz="1500" dirty="0"/>
              <a:t>Test Plan</a:t>
            </a:r>
          </a:p>
          <a:p>
            <a:r>
              <a:rPr lang="en-US" sz="1500" dirty="0"/>
              <a:t>Test Design</a:t>
            </a:r>
          </a:p>
          <a:p>
            <a:r>
              <a:rPr lang="en-US" sz="1500" dirty="0"/>
              <a:t>Test Environment Setup</a:t>
            </a:r>
          </a:p>
          <a:p>
            <a:r>
              <a:rPr lang="en-US" sz="1500" dirty="0"/>
              <a:t>Test Execution</a:t>
            </a:r>
          </a:p>
          <a:p>
            <a:r>
              <a:rPr lang="en-US" sz="1500" dirty="0"/>
              <a:t>Defect Reporting</a:t>
            </a:r>
          </a:p>
          <a:p>
            <a:r>
              <a:rPr lang="en-US" sz="1500" dirty="0"/>
              <a:t>Test Closure</a:t>
            </a:r>
          </a:p>
          <a:p>
            <a:r>
              <a:rPr lang="en-US" sz="1500" dirty="0"/>
              <a:t>Testing Triangle</a:t>
            </a:r>
          </a:p>
          <a:p>
            <a:r>
              <a:rPr lang="en-US" sz="1500" dirty="0"/>
              <a:t>Automation Test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503073" y="1860992"/>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OWER Technique</a:t>
            </a:r>
          </a:p>
          <a:p>
            <a:pPr marL="0" indent="0">
              <a:buFont typeface="Arial" panose="020B0604020202020204" pitchFamily="34" charset="0"/>
              <a:buNone/>
            </a:pPr>
            <a:r>
              <a:rPr lang="en-US" sz="2000" dirty="0">
                <a:highlight>
                  <a:srgbClr val="FFFF00"/>
                </a:highlight>
              </a:rPr>
              <a:t>P</a:t>
            </a:r>
            <a:r>
              <a:rPr lang="en-US" sz="2000" dirty="0"/>
              <a:t>lan </a:t>
            </a:r>
            <a:r>
              <a:rPr lang="en-US" sz="2000" dirty="0">
                <a:highlight>
                  <a:srgbClr val="FFFF00"/>
                </a:highlight>
              </a:rPr>
              <a:t>O</a:t>
            </a:r>
            <a:r>
              <a:rPr lang="en-US" sz="2000" dirty="0"/>
              <a:t>rganize </a:t>
            </a:r>
            <a:r>
              <a:rPr lang="en-US" sz="2000" dirty="0">
                <a:highlight>
                  <a:srgbClr val="FFFF00"/>
                </a:highlight>
              </a:rPr>
              <a:t>W</a:t>
            </a:r>
            <a:r>
              <a:rPr lang="en-US" sz="2000" dirty="0"/>
              <a:t>rite </a:t>
            </a:r>
            <a:r>
              <a:rPr lang="en-US" sz="2000" dirty="0">
                <a:highlight>
                  <a:srgbClr val="FFFF00"/>
                </a:highlight>
              </a:rPr>
              <a:t>E</a:t>
            </a:r>
            <a:r>
              <a:rPr lang="en-US" sz="2000" dirty="0"/>
              <a:t>dit </a:t>
            </a:r>
            <a:r>
              <a:rPr lang="en-US" sz="2000" dirty="0">
                <a:highlight>
                  <a:srgbClr val="FFFF00"/>
                </a:highlight>
              </a:rPr>
              <a:t>R</a:t>
            </a:r>
            <a:r>
              <a:rPr lang="en-US" sz="2000" dirty="0"/>
              <a:t>eview</a:t>
            </a:r>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descr="A white paper with writing on it&#10;&#10;Description automatically generated">
            <a:extLst>
              <a:ext uri="{FF2B5EF4-FFF2-40B4-BE49-F238E27FC236}">
                <a16:creationId xmlns:a16="http://schemas.microsoft.com/office/drawing/2014/main" id="{4B954D4D-521E-E433-0A23-BEB3BCABC033}"/>
              </a:ext>
            </a:extLst>
          </p:cNvPr>
          <p:cNvPicPr>
            <a:picLocks noChangeAspect="1"/>
          </p:cNvPicPr>
          <p:nvPr/>
        </p:nvPicPr>
        <p:blipFill rotWithShape="1">
          <a:blip r:embed="rId7">
            <a:extLst>
              <a:ext uri="{28A0092B-C50C-407E-A947-70E740481C1C}">
                <a14:useLocalDpi xmlns:a14="http://schemas.microsoft.com/office/drawing/2010/main" val="0"/>
              </a:ext>
            </a:extLst>
          </a:blip>
          <a:srcRect l="9964" t="11790" r="6878" b="18315"/>
          <a:stretch/>
        </p:blipFill>
        <p:spPr>
          <a:xfrm>
            <a:off x="5216575" y="1807132"/>
            <a:ext cx="6637204" cy="4183959"/>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 DevOps and Azure</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evOps : It is a culture to promote development and operations collaboratively.</a:t>
            </a:r>
          </a:p>
          <a:p>
            <a:r>
              <a:rPr lang="en-US" dirty="0"/>
              <a:t>DevOps Lifecycle and Tools.</a:t>
            </a:r>
          </a:p>
          <a:p>
            <a:r>
              <a:rPr lang="en-US" dirty="0"/>
              <a:t>CI/CD Pipeline</a:t>
            </a:r>
          </a:p>
          <a:p>
            <a:r>
              <a:rPr lang="en-US" dirty="0" err="1"/>
              <a:t>Github</a:t>
            </a:r>
            <a:r>
              <a:rPr lang="en-US" dirty="0"/>
              <a:t> Actions: Automates everything with the </a:t>
            </a:r>
            <a:r>
              <a:rPr lang="en-US" dirty="0" err="1"/>
              <a:t>Github</a:t>
            </a:r>
            <a:r>
              <a:rPr lang="en-US" dirty="0"/>
              <a:t> flow (</a:t>
            </a:r>
            <a:r>
              <a:rPr lang="en-US" dirty="0" err="1"/>
              <a:t>Theory+Practicals</a:t>
            </a:r>
            <a:r>
              <a:rPr lang="en-US" dirty="0"/>
              <a:t>)</a:t>
            </a:r>
          </a:p>
          <a:p>
            <a:r>
              <a:rPr lang="en-US" dirty="0"/>
              <a:t>Components of </a:t>
            </a:r>
            <a:r>
              <a:rPr lang="en-US" dirty="0" err="1"/>
              <a:t>Github</a:t>
            </a:r>
            <a:r>
              <a:rPr lang="en-US" dirty="0"/>
              <a:t> Actions : Workflows, Events, Jobs, Actions and Runners</a:t>
            </a:r>
          </a:p>
          <a:p>
            <a:r>
              <a:rPr lang="en-US" dirty="0"/>
              <a:t>Cloud Platform</a:t>
            </a:r>
          </a:p>
          <a:p>
            <a:r>
              <a:rPr lang="en-US" dirty="0"/>
              <a:t>IaaS, PaaS, SaaS</a:t>
            </a:r>
          </a:p>
          <a:p>
            <a:r>
              <a:rPr lang="en-US" dirty="0"/>
              <a:t>Cloud Infrastructure Components</a:t>
            </a:r>
          </a:p>
          <a:p>
            <a:r>
              <a:rPr lang="en-US" dirty="0"/>
              <a:t>Virtual Machine (Theory and Practical) </a:t>
            </a:r>
          </a:p>
        </p:txBody>
      </p:sp>
      <p:pic>
        <p:nvPicPr>
          <p:cNvPr id="1030" name="Picture 6" descr="Image result for Azure DevOps Services">
            <a:extLst>
              <a:ext uri="{FF2B5EF4-FFF2-40B4-BE49-F238E27FC236}">
                <a16:creationId xmlns:a16="http://schemas.microsoft.com/office/drawing/2014/main" id="{750B14F9-D683-2B7F-2E57-DB472337B5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55715" y="2069432"/>
            <a:ext cx="5653806" cy="3619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 RDBMS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hat is RDBMS? : Relational Database Management System</a:t>
            </a:r>
          </a:p>
          <a:p>
            <a:r>
              <a:rPr lang="en-US" dirty="0"/>
              <a:t>Types of Databases</a:t>
            </a:r>
          </a:p>
          <a:p>
            <a:r>
              <a:rPr lang="en-US" dirty="0" err="1"/>
              <a:t>PostGreSQL</a:t>
            </a:r>
            <a:endParaRPr lang="en-US" dirty="0"/>
          </a:p>
          <a:p>
            <a:r>
              <a:rPr lang="en-US" dirty="0"/>
              <a:t>SQL Commands</a:t>
            </a:r>
          </a:p>
          <a:p>
            <a:r>
              <a:rPr lang="en-US" dirty="0"/>
              <a:t>Syntaxes</a:t>
            </a:r>
          </a:p>
          <a:p>
            <a:r>
              <a:rPr lang="en-US" dirty="0"/>
              <a:t>Functions in SQL</a:t>
            </a:r>
          </a:p>
        </p:txBody>
      </p:sp>
      <p:pic>
        <p:nvPicPr>
          <p:cNvPr id="2052" name="Picture 4" descr="Image result for RDBMS">
            <a:extLst>
              <a:ext uri="{FF2B5EF4-FFF2-40B4-BE49-F238E27FC236}">
                <a16:creationId xmlns:a16="http://schemas.microsoft.com/office/drawing/2014/main" id="{5373C390-A8FA-87CC-211F-C05DA3E3DE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20652" y="2175158"/>
            <a:ext cx="5329850" cy="32855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539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896636" y="188024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spcBef>
                <a:spcPts val="0"/>
              </a:spcBef>
              <a:spcAft>
                <a:spcPts val="0"/>
              </a:spcAft>
              <a:buNone/>
            </a:pPr>
            <a:r>
              <a:rPr lang="en-US" sz="1800" dirty="0">
                <a:solidFill>
                  <a:srgbClr val="000000"/>
                </a:solidFill>
                <a:effectLst/>
                <a:latin typeface="-webkit-standard"/>
                <a:ea typeface="Times New Roman" panose="02020603050405020304" pitchFamily="18" charset="0"/>
              </a:rPr>
              <a:t>In my role as a software engineer at Shell, incorporating testing into my daily workflow is crucial for ensuring high-quality software. </a:t>
            </a:r>
          </a:p>
          <a:p>
            <a:pPr marL="0" marR="0" indent="0">
              <a:spcBef>
                <a:spcPts val="0"/>
              </a:spcBef>
              <a:spcAft>
                <a:spcPts val="0"/>
              </a:spcAft>
              <a:buNone/>
            </a:pPr>
            <a:r>
              <a:rPr lang="en-US" sz="1800" dirty="0">
                <a:solidFill>
                  <a:srgbClr val="000000"/>
                </a:solidFill>
                <a:effectLst/>
                <a:latin typeface="-webkit-standard"/>
                <a:ea typeface="Times New Roman" panose="02020603050405020304" pitchFamily="18" charset="0"/>
              </a:rPr>
              <a:t>Starting by writing automated unit tests to validate individual components and integrate them into your CI/CD pipeline for continuous validation. </a:t>
            </a:r>
          </a:p>
          <a:p>
            <a:pPr marL="0" marR="0" indent="0">
              <a:spcBef>
                <a:spcPts val="0"/>
              </a:spcBef>
              <a:spcAft>
                <a:spcPts val="0"/>
              </a:spcAft>
              <a:buNone/>
            </a:pPr>
            <a:r>
              <a:rPr lang="en-US" sz="1800" dirty="0">
                <a:solidFill>
                  <a:srgbClr val="000000"/>
                </a:solidFill>
                <a:effectLst/>
                <a:latin typeface="-webkit-standard"/>
                <a:ea typeface="Times New Roman" panose="02020603050405020304" pitchFamily="18" charset="0"/>
              </a:rPr>
              <a:t>Applying integration and system tests to ensure that different parts of your application work together seamlessly. Employing performance testing to identify and address potential bottlenecks. </a:t>
            </a:r>
          </a:p>
          <a:p>
            <a:pPr marL="0" marR="0" indent="0">
              <a:spcBef>
                <a:spcPts val="0"/>
              </a:spcBef>
              <a:spcAft>
                <a:spcPts val="0"/>
              </a:spcAft>
              <a:buNone/>
            </a:pPr>
            <a:r>
              <a:rPr lang="en-US" sz="1800" dirty="0">
                <a:solidFill>
                  <a:srgbClr val="000000"/>
                </a:solidFill>
                <a:effectLst/>
                <a:latin typeface="-webkit-standard"/>
                <a:ea typeface="Times New Roman" panose="02020603050405020304" pitchFamily="18" charset="0"/>
              </a:rPr>
              <a:t>Additionally, using exploratory testing to uncover edge cases and unexpected issues. Maintaining comprehensive test documentation and review test results regularly to drive improvements. Embracing these practices will enhance code reliability, reduce bugs, and streamline development.</a:t>
            </a:r>
            <a:endParaRPr lang="en-US" sz="1800" dirty="0">
              <a:effectLst/>
              <a:latin typeface="Calibri" panose="020F0502020204030204" pitchFamily="34" charset="0"/>
              <a:ea typeface="Calibri" panose="020F0502020204030204" pitchFamily="34" charset="0"/>
            </a:endParaRPr>
          </a:p>
          <a:p>
            <a:pPr marL="0" indent="0">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000000"/>
                </a:solidFill>
                <a:effectLst/>
                <a:latin typeface="-webkit-standard"/>
                <a:ea typeface="Times New Roman" panose="02020603050405020304" pitchFamily="18" charset="0"/>
              </a:rPr>
              <a:t>Incorporating DevOps and Azure into my daily software engineering tasks at Shell can streamline development and operations. Using Azure DevOps to automate our build and deployment pipelines, ensuring consistent and reliable releases. Implementing infrastructure as code with Azure Resource Manager templates to manage resources efficiently. Leverage Azure Monitor for real-time application performance insights and proactive issue resolution. Utilizing Azure Repos for version control and collaborate with team members through Azure Boards for tracking work items and managing agile processes. By integrating these tools and practices, I can enhance code quality, accelerate delivery, and maintain operational excellence.</a:t>
            </a:r>
            <a:endParaRPr lang="en-US" sz="1800" dirty="0">
              <a:effectLst/>
              <a:latin typeface="Calibri" panose="020F0502020204030204" pitchFamily="34" charset="0"/>
              <a:ea typeface="Calibri" panose="020F0502020204030204" pitchFamily="34" charset="0"/>
            </a:endParaRPr>
          </a:p>
          <a:p>
            <a:pPr marL="0" indent="0">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94</TotalTime>
  <Words>711</Words>
  <Application>Microsoft Office PowerPoint</Application>
  <PresentationFormat>Widescreen</PresentationFormat>
  <Paragraphs>88</Paragraphs>
  <Slides>1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4" baseType="lpstr">
      <vt:lpstr>Arial</vt:lpstr>
      <vt:lpstr>Calibri</vt:lpstr>
      <vt:lpstr>-webkit-standard</vt:lpstr>
      <vt:lpstr>Office Theme</vt:lpstr>
      <vt:lpstr>think-cell Slide</vt:lpstr>
      <vt:lpstr>PowerPoint Presentation</vt:lpstr>
      <vt:lpstr>About Me</vt:lpstr>
      <vt:lpstr>PowerPoint Presentation</vt:lpstr>
      <vt:lpstr>Learning 1 | My takeaways | Testing  </vt:lpstr>
      <vt:lpstr>Learning 2 | My takeaways | DevOps and Azure</vt:lpstr>
      <vt:lpstr>Learning 3 | My takeaways | RDBMS </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rivastava, Deepika S SBOBNG-PTIY/AGE</cp:lastModifiedBy>
  <cp:revision>499</cp:revision>
  <dcterms:created xsi:type="dcterms:W3CDTF">2022-01-18T12:35:56Z</dcterms:created>
  <dcterms:modified xsi:type="dcterms:W3CDTF">2024-09-06T17:5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